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3" r:id="rId4"/>
    <p:sldMasterId id="2147484066" r:id="rId5"/>
  </p:sldMasterIdLst>
  <p:notesMasterIdLst>
    <p:notesMasterId r:id="rId12"/>
  </p:notesMasterIdLst>
  <p:handoutMasterIdLst>
    <p:handoutMasterId r:id="rId13"/>
  </p:handoutMasterIdLst>
  <p:sldIdLst>
    <p:sldId id="341" r:id="rId6"/>
    <p:sldId id="2147470976" r:id="rId7"/>
    <p:sldId id="2147470995" r:id="rId8"/>
    <p:sldId id="2147471052" r:id="rId9"/>
    <p:sldId id="606" r:id="rId10"/>
    <p:sldId id="2147471003" r:id="rId11"/>
  </p:sldIdLst>
  <p:sldSz cx="12192000" cy="6858000"/>
  <p:notesSz cx="7315200" cy="96012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0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ABB21F-1013-5912-BCB2-9A17E14EE777}" name="Saini, Deepak" initials="SD" userId="S::dsaini@deloitte.com::e80dbb9a-4b07-4a9f-88ef-d15fa0089888" providerId="AD"/>
  <p188:author id="{C0E6D74F-5A8A-EED2-EDCC-E41C7CB3BFCD}" name="Agarwal, Ritvika Agarwal" initials="AA" userId="S::ritagarwal@deloitte.com::b707b316-64a3-4610-910f-1bdb9cece82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ika H" initials="A" lastIdx="8" clrIdx="0">
    <p:extLst>
      <p:ext uri="{19B8F6BF-5375-455C-9EA6-DF929625EA0E}">
        <p15:presenceInfo xmlns:p15="http://schemas.microsoft.com/office/powerpoint/2012/main" userId="Tamika H" providerId="None"/>
      </p:ext>
    </p:extLst>
  </p:cmAuthor>
  <p:cmAuthor id="2" name="Nangle, Ryan" initials="NR" lastIdx="5" clrIdx="1">
    <p:extLst>
      <p:ext uri="{19B8F6BF-5375-455C-9EA6-DF929625EA0E}">
        <p15:presenceInfo xmlns:p15="http://schemas.microsoft.com/office/powerpoint/2012/main" userId="S::rnangle@deloitte.com::e2554a09-feee-485b-b4c5-b68e776b55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F760E7-6866-46D8-AC56-5BED3F6AD13A}" v="1" dt="2024-04-09T15:29:1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964" y="52"/>
      </p:cViewPr>
      <p:guideLst>
        <p:guide/>
        <p:guide orient="horz" pos="2040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hur, Saurabh" userId="a37e60d5-5065-4744-9e28-eb3be27fa56a" providerId="ADAL" clId="{BAF760E7-6866-46D8-AC56-5BED3F6AD13A}"/>
    <pc:docChg chg="modSld sldOrd">
      <pc:chgData name="Mathur, Saurabh" userId="a37e60d5-5065-4744-9e28-eb3be27fa56a" providerId="ADAL" clId="{BAF760E7-6866-46D8-AC56-5BED3F6AD13A}" dt="2024-04-09T15:30:09.290" v="197"/>
      <pc:docMkLst>
        <pc:docMk/>
      </pc:docMkLst>
      <pc:sldChg chg="modSp mod ord">
        <pc:chgData name="Mathur, Saurabh" userId="a37e60d5-5065-4744-9e28-eb3be27fa56a" providerId="ADAL" clId="{BAF760E7-6866-46D8-AC56-5BED3F6AD13A}" dt="2024-04-09T15:30:09.290" v="197"/>
        <pc:sldMkLst>
          <pc:docMk/>
          <pc:sldMk cId="167617655" sldId="2147471052"/>
        </pc:sldMkLst>
        <pc:graphicFrameChg chg="mod modGraphic">
          <ac:chgData name="Mathur, Saurabh" userId="a37e60d5-5065-4744-9e28-eb3be27fa56a" providerId="ADAL" clId="{BAF760E7-6866-46D8-AC56-5BED3F6AD13A}" dt="2024-04-09T15:29:59.275" v="195" actId="20577"/>
          <ac:graphicFrameMkLst>
            <pc:docMk/>
            <pc:sldMk cId="167617655" sldId="2147471052"/>
            <ac:graphicFrameMk id="2" creationId="{141F50F9-4C69-440D-8BDD-2630B6F8B6C5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9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92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477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DD572C-0642-445C-95EA-9BF60C5DC7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189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146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13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B1DBBF7-4EAE-4F8E-80EB-5E36A81C588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B595760D-1961-4CF0-A79F-E0C641C5E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A213B5C-0BC9-4640-BE48-78260F9B6D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9E5E405-2AF9-4E2B-8F43-F76F432CEF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FE942F8-2D25-42A3-A409-4D4ADADF9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7CFD0CDD-055D-4EF6-AB60-E6A04A31C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CA52BB3-DD5F-46AB-B237-3750DBC6B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24ED087-FB4A-42B2-8F67-7DF619974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81D059B-F9CF-4815-B2C7-F7FBC22AA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E6D6E46-0F1D-41F0-A413-699C42207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0957F9A-A9E7-4445-87CB-845E0DEBE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912EC3-1855-4861-A48F-44967565F3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26045A5-BDA5-4E60-B10E-04BA92E979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91ED79A-C6A4-493F-85EF-04BA0E4DBA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1E00A011-156F-48B9-B2DB-9C341DBC74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8C56265-27CC-48D8-9C76-18EE31E85F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968F0C77-6FE6-49E9-BAC0-F6D3D677E3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4E0AE3BD-57FA-4431-8D8F-36D90F5C4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17AC8A07-9CFF-46F4-8ADA-525F96CF2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3E084467-5D21-4BEE-B508-F927666F80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6FC9F5A-165E-4D09-88F9-4BF2CAB0A5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B037334F-F1D4-4771-B9B1-FCB04EF1CA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6280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- Deloitte Blue">
    <p:bg bwMode="gray">
      <p:bgPr>
        <a:solidFill>
          <a:srgbClr val="0055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2553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- Deloitte Teal">
    <p:bg bwMode="gray">
      <p:bgPr>
        <a:solidFill>
          <a:srgbClr val="004F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0296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8458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455228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1AA219-3285-40E3-9146-7A9E17B0F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00698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6660C-D97A-4199-9DB7-D8D50E3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32245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0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29D6D4-38CD-4379-9FC6-B6687A49C85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E6ED15D-2C57-4909-970A-202D915A4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BD4E32B-226F-46EB-B601-3856A02B7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F1AAD0C-B296-45B7-9E5A-20BD28770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D121C73-5C5C-4360-8EB5-E75E9067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7820EBA0-29B2-457F-8C42-C6999B8C2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AA7EA11-CDBF-464E-9243-90C623095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624E1B1-6657-49A0-B80A-E1FD4DF1B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86B2E42-0E10-4A70-B9EF-DB7E343E4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80D859B-0685-4D23-B179-9E42323AB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7BF240D-03CC-44FA-B191-E59014FCD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A2DCA97-92B7-4E52-BE6A-904A9D22F29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02A83B32-097D-4E01-B3A8-77C4838595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30E27498-E91D-41E0-A196-9E2FB8692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524DBE99-D543-47AC-A2B6-25395BDB7D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209C606A-12E7-40E3-A6B8-DEE79173C9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73ED221B-16E3-4EBE-8EBC-9F66E803CB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0D697A95-88D2-47F0-B4DF-915E2EDEDB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960B0F46-3D82-4FFC-B9BB-9D5BF8DA27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DBC1DB9C-3617-4E82-B521-DF02390A4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265776A6-2E98-464E-8730-90C3148BA8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44252080-8419-4833-996E-5F1D7B09FF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35820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632EF4-0628-41B2-82A6-C4B3B1304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6650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A3F73AF-7771-204E-86AB-AF9A33E8040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89AB86D-23C7-BF41-90B1-22ADB149797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B64605-1F7B-B74A-BE95-88E701A0AAE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93146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8036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250D39-3CD2-434D-B748-17EED0F3A2F1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29F2EAE-0B0B-4311-B8C7-B92308FDB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D66D6FD-671C-4971-84E7-3F95D681AA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0D0BAEB-42C5-4909-8FAE-D062C5097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A442559A-2DAB-4A59-908E-A9F300335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3319EAFB-82E3-4AA5-8E76-BCBFD485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1B86A800-7B43-42DC-8F55-2BE218DAA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4D7DE78-318C-43DC-8425-6815074F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8B9FF502-04DE-4886-8EC5-F59E2DDA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AFD2C9A9-58B2-40D7-900D-9935E569C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FBFCAACE-51E1-460B-B814-DB6E1935A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35D988E-AB9B-4338-8B0B-A9D2FBBD35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00D145D-F249-4360-A851-84590354DE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A91093B-1D7D-4E9C-80DD-053FD0C928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D75F7421-C68D-4202-A0E2-B866717DDE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DE98E27-9E3D-4174-9895-EE41667C63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A400316F-9B75-46A7-B1DF-72DD3623FD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80392710-6741-4A2A-B74E-E7E47B6F6C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E5628F7-91B4-40CC-93AA-15FE7FE83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705DD4AC-A5BB-439E-AD61-E7E5A2A00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B332C818-B977-4B0B-BF7A-3565E9B5BE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01AFB913-ABEF-4721-A184-6CE57CC2AA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5616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34160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260727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48918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8113661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9569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84108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0DA35B-33FF-43EA-B25A-C41FAE3895FE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DB6557-D6FD-466B-8D3E-3CA708F12E73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FB24D0F-7771-4CE5-8960-0A3E81C0F642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7787FC-D28B-408A-8718-323CBB5A4885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43AFDC-68A4-4D09-8F2E-8F5868A21405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1E9E8D4-00A2-44E2-A14B-6AEA5102B278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FD725F-23DE-4826-A867-5F9CE983F8F2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C698B6-FF29-48D7-A20E-957F651B531E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4128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1FFC15-3C97-48B0-861A-657AC081F266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725472-BC96-48FD-96B0-C09B68923B28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FA341-4A36-4ACA-8A69-078973CB3576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340598-BE63-4AF2-A3A7-B484B6E166D5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3618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7654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28717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5274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6365517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024197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267024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195586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45452D8-8F21-0C4E-9A83-DE459B0158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15"/>
            <a:ext cx="12192000" cy="685056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3943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omputer keyboard&#10;&#10;Description automatically generated with low confidence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990" y="851338"/>
            <a:ext cx="12192000" cy="600666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049058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113785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724651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983420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5975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B94C39-8B87-5C4B-9C17-68F29CB21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969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5564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6246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55216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ADCA4F2-9E48-F244-9BBF-211613968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216" y="1052576"/>
            <a:ext cx="7952197" cy="58039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740162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715929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0453B57-B0D5-1F4E-BF68-AE443ED2B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453357" y="850032"/>
            <a:ext cx="6367672" cy="466760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FA9F65BC-7533-43CA-92A0-A245602E6E6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D59DF38B-3D5A-46E1-8577-421AB8CF7A39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59316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A0CCDF9-0CE4-CB4D-886C-87692FC246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43567" y="1185756"/>
            <a:ext cx="7044730" cy="446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5027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683992-E2D9-4A7F-985E-3EEDF9E415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A43E969-ECC9-4A2B-99BD-4E66B33ED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CB5A79-40EE-4B73-9B49-597C92075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78C1DA1C-9988-40E2-A2B5-C957B4176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FF8C6C2-C845-49E8-9DB6-012D7004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2D607E7-411D-49B5-B19A-26CCD5532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35F648D-A283-495F-BA4E-A7DBFF0F4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AB2A403B-5633-4D74-A742-6F09315D7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EBD3EF-692C-4FB7-91EB-2DB640EC5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CEC673F8-1A3A-4CAE-9904-87474B390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10E7F45D-8E34-4D1C-9D45-160C26574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8773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B1DBBF7-4EAE-4F8E-80EB-5E36A81C588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B595760D-1961-4CF0-A79F-E0C641C5E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A213B5C-0BC9-4640-BE48-78260F9B6D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9E5E405-2AF9-4E2B-8F43-F76F432CEF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FE942F8-2D25-42A3-A409-4D4ADADF9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7CFD0CDD-055D-4EF6-AB60-E6A04A31C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CA52BB3-DD5F-46AB-B237-3750DBC6B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24ED087-FB4A-42B2-8F67-7DF619974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81D059B-F9CF-4815-B2C7-F7FBC22AA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E6D6E46-0F1D-41F0-A413-699C42207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0957F9A-A9E7-4445-87CB-845E0DEBE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912EC3-1855-4861-A48F-44967565F3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26045A5-BDA5-4E60-B10E-04BA92E979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91ED79A-C6A4-493F-85EF-04BA0E4DBA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1E00A011-156F-48B9-B2DB-9C341DBC74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8C56265-27CC-48D8-9C76-18EE31E85F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968F0C77-6FE6-49E9-BAC0-F6D3D677E3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4E0AE3BD-57FA-4431-8D8F-36D90F5C4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17AC8A07-9CFF-46F4-8ADA-525F96CF2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3E084467-5D21-4BEE-B508-F927666F80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6FC9F5A-165E-4D09-88F9-4BF2CAB0A5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B037334F-F1D4-4771-B9B1-FCB04EF1CA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3185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250D39-3CD2-434D-B748-17EED0F3A2F1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29F2EAE-0B0B-4311-B8C7-B92308FDB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D66D6FD-671C-4971-84E7-3F95D681AA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0D0BAEB-42C5-4909-8FAE-D062C5097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A442559A-2DAB-4A59-908E-A9F300335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3319EAFB-82E3-4AA5-8E76-BCBFD485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1B86A800-7B43-42DC-8F55-2BE218DAA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4D7DE78-318C-43DC-8425-6815074F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8B9FF502-04DE-4886-8EC5-F59E2DDA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AFD2C9A9-58B2-40D7-900D-9935E569C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FBFCAACE-51E1-460B-B814-DB6E1935A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35D988E-AB9B-4338-8B0B-A9D2FBBD35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00D145D-F249-4360-A851-84590354DE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A91093B-1D7D-4E9C-80DD-053FD0C928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D75F7421-C68D-4202-A0E2-B866717DDE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DE98E27-9E3D-4174-9895-EE41667C63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A400316F-9B75-46A7-B1DF-72DD3623FD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80392710-6741-4A2A-B74E-E7E47B6F6C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E5628F7-91B4-40CC-93AA-15FE7FE83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705DD4AC-A5BB-439E-AD61-E7E5A2A00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B332C818-B977-4B0B-BF7A-3565E9B5BE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01AFB913-ABEF-4721-A184-6CE57CC2AA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166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34F5B603-8BEE-C94E-8E56-823C3D6BC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188" y="1115180"/>
            <a:ext cx="8405812" cy="532792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21202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8547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B94C39-8B87-5C4B-9C17-68F29CB21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510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34F5B603-8BEE-C94E-8E56-823C3D6BC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188" y="1115180"/>
            <a:ext cx="8405812" cy="532792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4343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4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861288AB-9C93-D640-A929-B71E3CD0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D313D6-5A4E-4826-A4D4-3C0F692F9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AF3337D-4793-4191-8FE2-2BD1EAA16ADA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DF09F051-A0EE-4A49-AC25-A3F0C2C11889}"/>
              </a:ext>
            </a:extLst>
          </p:cNvPr>
          <p:cNvSpPr txBox="1"/>
          <p:nvPr userDrawn="1"/>
        </p:nvSpPr>
        <p:spPr>
          <a:xfrm>
            <a:off x="469901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068994-6C10-4E3B-B991-802F0F138B9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2927CF1-BAB3-EB46-AF8C-D8C059A6943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4A7D03D-9579-F145-AA7E-F28AB0EDF30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22088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ark&#10;&#10;Description automatically generated">
            <a:extLst>
              <a:ext uri="{FF2B5EF4-FFF2-40B4-BE49-F238E27FC236}">
                <a16:creationId xmlns:a16="http://schemas.microsoft.com/office/drawing/2014/main" id="{C53474EA-1434-604A-965E-350A709D1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6817" y="751647"/>
            <a:ext cx="6322874" cy="5725353"/>
          </a:xfrm>
          <a:prstGeom prst="rect">
            <a:avLst/>
          </a:prstGeom>
        </p:spPr>
      </p:pic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09" y="790103"/>
            <a:ext cx="12193294" cy="6921199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8470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0B26E2-7A1D-4143-86B7-99E73A374C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3F4744-9003-2540-9EBB-077F2D01E27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780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green">
    <p:bg bwMode="gray"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770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- Deloitte Blue">
    <p:bg bwMode="gray">
      <p:bgPr>
        <a:solidFill>
          <a:srgbClr val="0055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78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- Deloitte Teal">
    <p:bg bwMode="gray">
      <p:bgPr>
        <a:solidFill>
          <a:srgbClr val="004F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096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9578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4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861288AB-9C93-D640-A929-B71E3CD0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D313D6-5A4E-4826-A4D4-3C0F692F9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AF3337D-4793-4191-8FE2-2BD1EAA16ADA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DF09F051-A0EE-4A49-AC25-A3F0C2C11889}"/>
              </a:ext>
            </a:extLst>
          </p:cNvPr>
          <p:cNvSpPr txBox="1"/>
          <p:nvPr userDrawn="1"/>
        </p:nvSpPr>
        <p:spPr>
          <a:xfrm>
            <a:off x="469901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068994-6C10-4E3B-B991-802F0F138B9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2927CF1-BAB3-EB46-AF8C-D8C059A6943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4A7D03D-9579-F145-AA7E-F28AB0EDF30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87637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3549847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1AA219-3285-40E3-9146-7A9E17B0F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813783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6660C-D97A-4199-9DB7-D8D50E3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5595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0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29D6D4-38CD-4379-9FC6-B6687A49C85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E6ED15D-2C57-4909-970A-202D915A4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BD4E32B-226F-46EB-B601-3856A02B7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F1AAD0C-B296-45B7-9E5A-20BD28770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D121C73-5C5C-4360-8EB5-E75E9067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7820EBA0-29B2-457F-8C42-C6999B8C2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AA7EA11-CDBF-464E-9243-90C623095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624E1B1-6657-49A0-B80A-E1FD4DF1B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86B2E42-0E10-4A70-B9EF-DB7E343E4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80D859B-0685-4D23-B179-9E42323AB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7BF240D-03CC-44FA-B191-E59014FCD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A2DCA97-92B7-4E52-BE6A-904A9D22F29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02A83B32-097D-4E01-B3A8-77C4838595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30E27498-E91D-41E0-A196-9E2FB8692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524DBE99-D543-47AC-A2B6-25395BDB7D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209C606A-12E7-40E3-A6B8-DEE79173C9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73ED221B-16E3-4EBE-8EBC-9F66E803CB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0D697A95-88D2-47F0-B4DF-915E2EDEDB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960B0F46-3D82-4FFC-B9BB-9D5BF8DA27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DBC1DB9C-3617-4E82-B521-DF02390A4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265776A6-2E98-464E-8730-90C3148BA8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44252080-8419-4833-996E-5F1D7B09FF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157261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632EF4-0628-41B2-82A6-C4B3B1304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750992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A3F73AF-7771-204E-86AB-AF9A33E8040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89AB86D-23C7-BF41-90B1-22ADB149797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B64605-1F7B-B74A-BE95-88E701A0AAE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15908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437349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280190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446931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070983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ark&#10;&#10;Description automatically generated">
            <a:extLst>
              <a:ext uri="{FF2B5EF4-FFF2-40B4-BE49-F238E27FC236}">
                <a16:creationId xmlns:a16="http://schemas.microsoft.com/office/drawing/2014/main" id="{C53474EA-1434-604A-965E-350A709D1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6817" y="751647"/>
            <a:ext cx="6322874" cy="5725353"/>
          </a:xfrm>
          <a:prstGeom prst="rect">
            <a:avLst/>
          </a:prstGeom>
        </p:spPr>
      </p:pic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09" y="790103"/>
            <a:ext cx="12193294" cy="6921199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3906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4043133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773070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43896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0DA35B-33FF-43EA-B25A-C41FAE3895FE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DB6557-D6FD-466B-8D3E-3CA708F12E73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FB24D0F-7771-4CE5-8960-0A3E81C0F642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7787FC-D28B-408A-8718-323CBB5A4885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43AFDC-68A4-4D09-8F2E-8F5868A21405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1E9E8D4-00A2-44E2-A14B-6AEA5102B278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FD725F-23DE-4826-A867-5F9CE983F8F2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C698B6-FF29-48D7-A20E-957F651B531E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21492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1FFC15-3C97-48B0-861A-657AC081F266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725472-BC96-48FD-96B0-C09B68923B28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FA341-4A36-4ACA-8A69-078973CB3576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340598-BE63-4AF2-A3A7-B484B6E166D5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278180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19233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842343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805173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929997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424742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0B26E2-7A1D-4143-86B7-99E73A374C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3F4744-9003-2540-9EBB-077F2D01E27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579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427459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45452D8-8F21-0C4E-9A83-DE459B0158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15"/>
            <a:ext cx="12192000" cy="685056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07870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omputer keyboard&#10;&#10;Description automatically generated with low confidence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990" y="851338"/>
            <a:ext cx="12192000" cy="600666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92915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2096434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108301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8988443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9421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61110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94577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908733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green">
    <p:bg bwMode="gray"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146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ADCA4F2-9E48-F244-9BBF-211613968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216" y="1052576"/>
            <a:ext cx="7952197" cy="58039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062387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613191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0453B57-B0D5-1F4E-BF68-AE443ED2B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453357" y="850032"/>
            <a:ext cx="6367672" cy="466760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FA9F65BC-7533-43CA-92A0-A245602E6E6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D59DF38B-3D5A-46E1-8577-421AB8CF7A39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49626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A0CCDF9-0CE4-CB4D-886C-87692FC246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43567" y="1185756"/>
            <a:ext cx="7044730" cy="446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7252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683992-E2D9-4A7F-985E-3EEDF9E415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A43E969-ECC9-4A2B-99BD-4E66B33ED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CB5A79-40EE-4B73-9B49-597C92075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78C1DA1C-9988-40E2-A2B5-C957B4176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FF8C6C2-C845-49E8-9DB6-012D7004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2D607E7-411D-49B5-B19A-26CCD5532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35F648D-A283-495F-BA4E-A7DBFF0F4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AB2A403B-5633-4D74-A742-6F09315D7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EBD3EF-692C-4FB7-91EB-2DB640EC5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CEC673F8-1A3A-4CAE-9904-87474B390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10E7F45D-8E34-4D1C-9D45-160C26574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25553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tem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6C9E0920-8CD3-794F-90BE-8F98B4A7EDB0}"/>
              </a:ext>
            </a:extLst>
          </p:cNvPr>
          <p:cNvSpPr>
            <a:spLocks/>
          </p:cNvSpPr>
          <p:nvPr/>
        </p:nvSpPr>
        <p:spPr bwMode="auto">
          <a:xfrm>
            <a:off x="914719" y="6444147"/>
            <a:ext cx="335348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smtClean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‹#›</a:t>
            </a:fld>
            <a:r>
              <a:rPr lang="en-US" sz="80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E3249D-A85E-4777-A72E-80B3CF02B87E}"/>
              </a:ext>
            </a:extLst>
          </p:cNvPr>
          <p:cNvSpPr>
            <a:spLocks/>
          </p:cNvSpPr>
          <p:nvPr userDrawn="1"/>
        </p:nvSpPr>
        <p:spPr bwMode="auto">
          <a:xfrm>
            <a:off x="914719" y="6444147"/>
            <a:ext cx="335348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smtClean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‹#›</a:t>
            </a:fld>
            <a:r>
              <a:rPr lang="en-US" sz="80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470335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hea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F5BA907-C74F-3D42-8D12-FB4821521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i="0" spc="-75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A451DFB-9D2D-944C-AEA5-014E9B7829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CD48EFF-5A0E-BC42-BDA2-0D38C22BBD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0" y="466344"/>
            <a:ext cx="10362631" cy="164592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1"/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7990211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oleObject" Target="../embeddings/oleObject2.bin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8" Type="http://schemas.openxmlformats.org/officeDocument/2006/relationships/slideLayout" Target="../slideLayouts/slideLayout55.xml"/><Relationship Id="rId51" Type="http://schemas.openxmlformats.org/officeDocument/2006/relationships/tags" Target="../tags/tag3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41840348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277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4063" r:id="rId5"/>
    <p:sldLayoutId id="2147483998" r:id="rId6"/>
    <p:sldLayoutId id="2147483999" r:id="rId7"/>
    <p:sldLayoutId id="2147484064" r:id="rId8"/>
    <p:sldLayoutId id="2147484046" r:id="rId9"/>
    <p:sldLayoutId id="2147484047" r:id="rId10"/>
    <p:sldLayoutId id="2147484048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62" r:id="rId19"/>
    <p:sldLayoutId id="2147484008" r:id="rId20"/>
    <p:sldLayoutId id="2147484009" r:id="rId21"/>
    <p:sldLayoutId id="2147484010" r:id="rId22"/>
    <p:sldLayoutId id="2147484011" r:id="rId23"/>
    <p:sldLayoutId id="2147484012" r:id="rId24"/>
    <p:sldLayoutId id="2147484013" r:id="rId25"/>
    <p:sldLayoutId id="2147484014" r:id="rId26"/>
    <p:sldLayoutId id="2147484015" r:id="rId27"/>
    <p:sldLayoutId id="2147484016" r:id="rId28"/>
    <p:sldLayoutId id="2147484017" r:id="rId29"/>
    <p:sldLayoutId id="2147484018" r:id="rId30"/>
    <p:sldLayoutId id="2147484019" r:id="rId31"/>
    <p:sldLayoutId id="2147484020" r:id="rId32"/>
    <p:sldLayoutId id="2147484021" r:id="rId33"/>
    <p:sldLayoutId id="2147484041" r:id="rId34"/>
    <p:sldLayoutId id="2147484060" r:id="rId35"/>
    <p:sldLayoutId id="2147484061" r:id="rId36"/>
    <p:sldLayoutId id="2147484065" r:id="rId37"/>
    <p:sldLayoutId id="2147484022" r:id="rId38"/>
    <p:sldLayoutId id="2147484023" r:id="rId39"/>
    <p:sldLayoutId id="2147484024" r:id="rId40"/>
    <p:sldLayoutId id="2147484025" r:id="rId41"/>
    <p:sldLayoutId id="2147484027" r:id="rId42"/>
    <p:sldLayoutId id="2147484042" r:id="rId43"/>
    <p:sldLayoutId id="2147484043" r:id="rId44"/>
    <p:sldLayoutId id="2147484045" r:id="rId45"/>
    <p:sldLayoutId id="2147484044" r:id="rId46"/>
    <p:sldLayoutId id="2147484040" r:id="rId47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64" pos="5098" userDrawn="1">
          <p15:clr>
            <a:srgbClr val="F26B43"/>
          </p15:clr>
        </p15:guide>
        <p15:guide id="65" orient="horz" pos="2160" userDrawn="1">
          <p15:clr>
            <a:srgbClr val="F26B43"/>
          </p15:clr>
        </p15:guide>
        <p15:guide id="66" orient="horz" pos="3968" userDrawn="1">
          <p15:clr>
            <a:srgbClr val="F26B43"/>
          </p15:clr>
        </p15:guide>
        <p15:guide id="67" pos="312" userDrawn="1">
          <p15:clr>
            <a:srgbClr val="F26B43"/>
          </p15:clr>
        </p15:guide>
        <p15:guide id="68" pos="7368" userDrawn="1">
          <p15:clr>
            <a:srgbClr val="F26B43"/>
          </p15:clr>
        </p15:guide>
        <p15:guide id="69" orient="horz" pos="245" userDrawn="1">
          <p15:clr>
            <a:srgbClr val="F26B43"/>
          </p15:clr>
        </p15:guide>
        <p15:guide id="70" orient="horz" pos="4081" userDrawn="1">
          <p15:clr>
            <a:srgbClr val="F26B43"/>
          </p15:clr>
        </p15:guide>
        <p15:guide id="71" pos="4986" userDrawn="1">
          <p15:clr>
            <a:srgbClr val="F26B43"/>
          </p15:clr>
        </p15:guide>
        <p15:guide id="72" pos="1382" userDrawn="1">
          <p15:clr>
            <a:srgbClr val="F26B43"/>
          </p15:clr>
        </p15:guide>
        <p15:guide id="73" pos="1496" userDrawn="1">
          <p15:clr>
            <a:srgbClr val="F26B43"/>
          </p15:clr>
        </p15:guide>
        <p15:guide id="74" pos="2581" userDrawn="1">
          <p15:clr>
            <a:srgbClr val="F26B43"/>
          </p15:clr>
        </p15:guide>
        <p15:guide id="75" pos="2695" userDrawn="1">
          <p15:clr>
            <a:srgbClr val="F26B43"/>
          </p15:clr>
        </p15:guide>
        <p15:guide id="76" pos="6185" userDrawn="1">
          <p15:clr>
            <a:srgbClr val="F26B43"/>
          </p15:clr>
        </p15:guide>
        <p15:guide id="77" pos="3783" userDrawn="1">
          <p15:clr>
            <a:srgbClr val="F26B43"/>
          </p15:clr>
        </p15:guide>
        <p15:guide id="78" pos="3896" userDrawn="1">
          <p15:clr>
            <a:srgbClr val="F26B43"/>
          </p15:clr>
        </p15:guide>
        <p15:guide id="79" pos="3840" userDrawn="1">
          <p15:clr>
            <a:srgbClr val="F26B43"/>
          </p15:clr>
        </p15:guide>
        <p15:guide id="80" pos="6299" userDrawn="1">
          <p15:clr>
            <a:srgbClr val="F26B43"/>
          </p15:clr>
        </p15:guide>
        <p15:guide id="81" orient="horz" pos="1049" userDrawn="1">
          <p15:clr>
            <a:srgbClr val="F26B43"/>
          </p15:clr>
        </p15:guide>
        <p15:guide id="82" orient="horz" pos="641" userDrawn="1">
          <p15:clr>
            <a:srgbClr val="F26B43"/>
          </p15:clr>
        </p15:guide>
        <p15:guide id="8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41840348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0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  <p:sldLayoutId id="2147484086" r:id="rId20"/>
    <p:sldLayoutId id="2147484087" r:id="rId21"/>
    <p:sldLayoutId id="2147484088" r:id="rId22"/>
    <p:sldLayoutId id="2147484089" r:id="rId23"/>
    <p:sldLayoutId id="2147484090" r:id="rId24"/>
    <p:sldLayoutId id="2147484091" r:id="rId25"/>
    <p:sldLayoutId id="2147484092" r:id="rId26"/>
    <p:sldLayoutId id="2147484093" r:id="rId27"/>
    <p:sldLayoutId id="2147484094" r:id="rId28"/>
    <p:sldLayoutId id="2147484095" r:id="rId29"/>
    <p:sldLayoutId id="2147484096" r:id="rId30"/>
    <p:sldLayoutId id="2147484097" r:id="rId31"/>
    <p:sldLayoutId id="2147484098" r:id="rId32"/>
    <p:sldLayoutId id="2147484099" r:id="rId33"/>
    <p:sldLayoutId id="2147484100" r:id="rId34"/>
    <p:sldLayoutId id="2147484101" r:id="rId35"/>
    <p:sldLayoutId id="2147484102" r:id="rId36"/>
    <p:sldLayoutId id="2147484103" r:id="rId37"/>
    <p:sldLayoutId id="2147484104" r:id="rId38"/>
    <p:sldLayoutId id="2147484105" r:id="rId39"/>
    <p:sldLayoutId id="2147484106" r:id="rId40"/>
    <p:sldLayoutId id="2147484107" r:id="rId41"/>
    <p:sldLayoutId id="2147484108" r:id="rId42"/>
    <p:sldLayoutId id="2147484109" r:id="rId43"/>
    <p:sldLayoutId id="2147484110" r:id="rId44"/>
    <p:sldLayoutId id="2147484111" r:id="rId45"/>
    <p:sldLayoutId id="2147484112" r:id="rId46"/>
    <p:sldLayoutId id="2147484113" r:id="rId47"/>
    <p:sldLayoutId id="2147484114" r:id="rId48"/>
    <p:sldLayoutId id="2147484115" r:id="rId49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64" pos="5098">
          <p15:clr>
            <a:srgbClr val="F26B43"/>
          </p15:clr>
        </p15:guide>
        <p15:guide id="65" orient="horz" pos="2160">
          <p15:clr>
            <a:srgbClr val="F26B43"/>
          </p15:clr>
        </p15:guide>
        <p15:guide id="66" orient="horz" pos="3968">
          <p15:clr>
            <a:srgbClr val="F26B43"/>
          </p15:clr>
        </p15:guide>
        <p15:guide id="67" pos="312">
          <p15:clr>
            <a:srgbClr val="F26B43"/>
          </p15:clr>
        </p15:guide>
        <p15:guide id="68" pos="7368">
          <p15:clr>
            <a:srgbClr val="F26B43"/>
          </p15:clr>
        </p15:guide>
        <p15:guide id="69" orient="horz" pos="245">
          <p15:clr>
            <a:srgbClr val="F26B43"/>
          </p15:clr>
        </p15:guide>
        <p15:guide id="70" orient="horz" pos="4081">
          <p15:clr>
            <a:srgbClr val="F26B43"/>
          </p15:clr>
        </p15:guide>
        <p15:guide id="71" pos="4986">
          <p15:clr>
            <a:srgbClr val="F26B43"/>
          </p15:clr>
        </p15:guide>
        <p15:guide id="72" pos="1382">
          <p15:clr>
            <a:srgbClr val="F26B43"/>
          </p15:clr>
        </p15:guide>
        <p15:guide id="73" pos="1496">
          <p15:clr>
            <a:srgbClr val="F26B43"/>
          </p15:clr>
        </p15:guide>
        <p15:guide id="74" pos="2581">
          <p15:clr>
            <a:srgbClr val="F26B43"/>
          </p15:clr>
        </p15:guide>
        <p15:guide id="75" pos="2695">
          <p15:clr>
            <a:srgbClr val="F26B43"/>
          </p15:clr>
        </p15:guide>
        <p15:guide id="76" pos="6185">
          <p15:clr>
            <a:srgbClr val="F26B43"/>
          </p15:clr>
        </p15:guide>
        <p15:guide id="77" pos="3783">
          <p15:clr>
            <a:srgbClr val="F26B43"/>
          </p15:clr>
        </p15:guide>
        <p15:guide id="78" pos="3896">
          <p15:clr>
            <a:srgbClr val="F26B43"/>
          </p15:clr>
        </p15:guide>
        <p15:guide id="79" pos="3840">
          <p15:clr>
            <a:srgbClr val="F26B43"/>
          </p15:clr>
        </p15:guide>
        <p15:guide id="80" pos="6299">
          <p15:clr>
            <a:srgbClr val="F26B43"/>
          </p15:clr>
        </p15:guide>
        <p15:guide id="81" orient="horz" pos="1049">
          <p15:clr>
            <a:srgbClr val="F26B43"/>
          </p15:clr>
        </p15:guide>
        <p15:guide id="82" orient="horz" pos="641">
          <p15:clr>
            <a:srgbClr val="F26B43"/>
          </p15:clr>
        </p15:guide>
        <p15:guide id="8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22672E0-7693-4B5C-8331-DE3495FB6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latin typeface="+mn-lt"/>
                <a:cs typeface="Calibri"/>
              </a:rPr>
              <a:t>14-Feb-2023</a:t>
            </a:r>
            <a:endParaRPr lang="en-US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58598A-3661-FE4F-B2F9-CDB4F6EFEF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2048" y="5257803"/>
            <a:ext cx="1483061" cy="14830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D499F5B-62DD-D34B-8F92-57604AD4AE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7532" y="-79468"/>
            <a:ext cx="7016936" cy="701693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DE5B9CEA-5E73-4E22-8C75-E8D43059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592405" cy="895983"/>
          </a:xfrm>
        </p:spPr>
        <p:txBody>
          <a:bodyPr/>
          <a:lstStyle/>
          <a:p>
            <a:r>
              <a:rPr lang="en-US" dirty="0">
                <a:latin typeface="Calibri Light"/>
                <a:ea typeface="Open Sans"/>
                <a:cs typeface="Calibri Light"/>
              </a:rPr>
              <a:t>ABC: Legal Entity &amp; Operating Model</a:t>
            </a:r>
          </a:p>
        </p:txBody>
      </p:sp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A0628AC-865C-420D-A875-119AB7076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s</a:t>
            </a:r>
          </a:p>
        </p:txBody>
      </p:sp>
    </p:spTree>
    <p:extLst>
      <p:ext uri="{BB962C8B-B14F-4D97-AF65-F5344CB8AC3E}">
        <p14:creationId xmlns:p14="http://schemas.microsoft.com/office/powerpoint/2010/main" val="4029359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4">
            <a:extLst>
              <a:ext uri="{FF2B5EF4-FFF2-40B4-BE49-F238E27FC236}">
                <a16:creationId xmlns:a16="http://schemas.microsoft.com/office/drawing/2014/main" id="{60644CDB-03DB-4EC6-984E-5552302007FA}"/>
              </a:ext>
            </a:extLst>
          </p:cNvPr>
          <p:cNvSpPr txBox="1">
            <a:spLocks/>
          </p:cNvSpPr>
          <p:nvPr/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000" b="1"/>
              <a:t>Objective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82549B7C-F0FA-419F-A057-F2CE77019D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0193192"/>
              </p:ext>
            </p:extLst>
          </p:nvPr>
        </p:nvGraphicFramePr>
        <p:xfrm>
          <a:off x="796263" y="1309655"/>
          <a:ext cx="10533763" cy="3576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28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60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1269">
                <a:tc gridSpan="2">
                  <a:txBody>
                    <a:bodyPr/>
                    <a:lstStyle/>
                    <a:p>
                      <a:pPr marL="0" marR="0" lvl="0" indent="0" algn="ctr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al Entity &amp; Operating Model</a:t>
                      </a: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defTabSz="684213">
                        <a:tabLst/>
                      </a:pPr>
                      <a:endParaRPr kumimoji="0" 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Duration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Lucida Sans" panose="020B0602040502020204" pitchFamily="34" charset="0"/>
                        </a:rPr>
                        <a:t>1 hour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Lucida Sans" panose="020B0602040502020204" pitchFamily="34" charset="0"/>
                        <a:sym typeface="Arial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Objective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Understand the current state legal entity structure and operating model. </a:t>
                      </a:r>
                      <a:endParaRPr kumimoji="0" lang="en-US" dirty="0"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806057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Key Activities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Discuss your current list of legal entities and relationships (roll-up) </a:t>
                      </a:r>
                    </a:p>
                    <a:p>
                      <a:pPr marL="800100" marR="0" lvl="1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Provide inputs on what currency they operate and report in</a:t>
                      </a:r>
                    </a:p>
                    <a:p>
                      <a:pPr marL="800100" marR="0" lvl="1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Provide insights on what functions are applicable to these entities (procurement. Sales, finance) </a:t>
                      </a:r>
                    </a:p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Discuss the current definitions of Legal Entities, Business Units, and Ledgers that have been set up in Oracle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8146689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What this is not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Design future state processes, finalize design decisions  </a:t>
                      </a:r>
                    </a:p>
                    <a:p>
                      <a:pPr marL="34290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Gather Requirements </a:t>
                      </a:r>
                    </a:p>
                    <a:p>
                      <a:pPr marL="34290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Perform Fit-Gap analysis and solutions for business requirements </a:t>
                      </a:r>
                      <a:endParaRPr kumimoji="0" lang="en-US" dirty="0"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119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9681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88136" y="113590"/>
            <a:ext cx="10363200" cy="594360"/>
          </a:xfrm>
        </p:spPr>
        <p:txBody>
          <a:bodyPr/>
          <a:lstStyle/>
          <a:p>
            <a:r>
              <a:rPr lang="en-US" sz="3000" b="1" dirty="0">
                <a:latin typeface="+mj-lt"/>
                <a:ea typeface="+mj-ea"/>
                <a:cs typeface="Calibri Light" panose="020F0302020204030204" pitchFamily="34" charset="0"/>
              </a:rPr>
              <a:t>Enterprise Structur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41F50F9-4C69-440D-8BDD-2630B6F8B6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367435"/>
              </p:ext>
            </p:extLst>
          </p:nvPr>
        </p:nvGraphicFramePr>
        <p:xfrm>
          <a:off x="88136" y="1012490"/>
          <a:ext cx="11501350" cy="5099965"/>
        </p:xfrm>
        <a:graphic>
          <a:graphicData uri="http://schemas.openxmlformats.org/drawingml/2006/table">
            <a:tbl>
              <a:tblPr firstRow="1" bandCol="1">
                <a:tableStyleId>{1FECB4D8-DB02-4DC6-A0A2-4F2EBAE1DC90}</a:tableStyleId>
              </a:tblPr>
              <a:tblGrid>
                <a:gridCol w="931074">
                  <a:extLst>
                    <a:ext uri="{9D8B030D-6E8A-4147-A177-3AD203B41FA5}">
                      <a16:colId xmlns:a16="http://schemas.microsoft.com/office/drawing/2014/main" val="1106712097"/>
                    </a:ext>
                  </a:extLst>
                </a:gridCol>
                <a:gridCol w="1196056">
                  <a:extLst>
                    <a:ext uri="{9D8B030D-6E8A-4147-A177-3AD203B41FA5}">
                      <a16:colId xmlns:a16="http://schemas.microsoft.com/office/drawing/2014/main" val="4217988956"/>
                    </a:ext>
                  </a:extLst>
                </a:gridCol>
                <a:gridCol w="793456">
                  <a:extLst>
                    <a:ext uri="{9D8B030D-6E8A-4147-A177-3AD203B41FA5}">
                      <a16:colId xmlns:a16="http://schemas.microsoft.com/office/drawing/2014/main" val="4199645464"/>
                    </a:ext>
                  </a:extLst>
                </a:gridCol>
                <a:gridCol w="759981">
                  <a:extLst>
                    <a:ext uri="{9D8B030D-6E8A-4147-A177-3AD203B41FA5}">
                      <a16:colId xmlns:a16="http://schemas.microsoft.com/office/drawing/2014/main" val="3966316345"/>
                    </a:ext>
                  </a:extLst>
                </a:gridCol>
                <a:gridCol w="1360048">
                  <a:extLst>
                    <a:ext uri="{9D8B030D-6E8A-4147-A177-3AD203B41FA5}">
                      <a16:colId xmlns:a16="http://schemas.microsoft.com/office/drawing/2014/main" val="2860785570"/>
                    </a:ext>
                  </a:extLst>
                </a:gridCol>
                <a:gridCol w="1403883">
                  <a:extLst>
                    <a:ext uri="{9D8B030D-6E8A-4147-A177-3AD203B41FA5}">
                      <a16:colId xmlns:a16="http://schemas.microsoft.com/office/drawing/2014/main" val="644040838"/>
                    </a:ext>
                  </a:extLst>
                </a:gridCol>
                <a:gridCol w="1076129">
                  <a:extLst>
                    <a:ext uri="{9D8B030D-6E8A-4147-A177-3AD203B41FA5}">
                      <a16:colId xmlns:a16="http://schemas.microsoft.com/office/drawing/2014/main" val="2539425610"/>
                    </a:ext>
                  </a:extLst>
                </a:gridCol>
                <a:gridCol w="1199932">
                  <a:extLst>
                    <a:ext uri="{9D8B030D-6E8A-4147-A177-3AD203B41FA5}">
                      <a16:colId xmlns:a16="http://schemas.microsoft.com/office/drawing/2014/main" val="1475265576"/>
                    </a:ext>
                  </a:extLst>
                </a:gridCol>
                <a:gridCol w="1199932">
                  <a:extLst>
                    <a:ext uri="{9D8B030D-6E8A-4147-A177-3AD203B41FA5}">
                      <a16:colId xmlns:a16="http://schemas.microsoft.com/office/drawing/2014/main" val="4101839475"/>
                    </a:ext>
                  </a:extLst>
                </a:gridCol>
                <a:gridCol w="1580859">
                  <a:extLst>
                    <a:ext uri="{9D8B030D-6E8A-4147-A177-3AD203B41FA5}">
                      <a16:colId xmlns:a16="http://schemas.microsoft.com/office/drawing/2014/main" val="3105012488"/>
                    </a:ext>
                  </a:extLst>
                </a:gridCol>
              </a:tblGrid>
              <a:tr h="7391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ntry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egal Entity </a:t>
                      </a:r>
                    </a:p>
                    <a:p>
                      <a:pPr algn="ctr" fontAlgn="ctr"/>
                      <a:r>
                        <a:rPr lang="en-US" sz="1300" b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LE)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ent LE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ployees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ercompany Tranx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ld Bank Accounts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mary Ledger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ondary Ledger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unctional Currency?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y/Sell - AP/AR?</a:t>
                      </a:r>
                    </a:p>
                    <a:p>
                      <a:pPr algn="ctr" fontAlgn="ctr"/>
                      <a:r>
                        <a:rPr lang="en-US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/N)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145471"/>
                  </a:ext>
                </a:extLst>
              </a:tr>
              <a:tr h="24028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Israe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rael LE1 Ltd.</a:t>
                      </a:r>
                      <a:r>
                        <a:rPr lang="en-US" sz="9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423988"/>
                  </a:ext>
                </a:extLst>
              </a:tr>
              <a:tr h="1546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C Lt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84820500"/>
                  </a:ext>
                </a:extLst>
              </a:tr>
              <a:tr h="1323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rael LE2 Ltd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78484726"/>
                  </a:ext>
                </a:extLst>
              </a:tr>
              <a:tr h="2028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United Kingdo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ABC UK - House of Fu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B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396353"/>
                  </a:ext>
                </a:extLst>
              </a:tr>
              <a:tr h="14640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ABC Chicago LLC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8054263"/>
                  </a:ext>
                </a:extLst>
              </a:tr>
              <a:tr h="136641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Indi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C Santa Monica LL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8204082"/>
                  </a:ext>
                </a:extLst>
              </a:tr>
              <a:tr h="287757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Canad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C Holding Cor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7928854"/>
                  </a:ext>
                </a:extLst>
              </a:tr>
              <a:tr h="287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 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4498384"/>
                  </a:ext>
                </a:extLst>
              </a:tr>
              <a:tr h="1691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tri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6282449"/>
                  </a:ext>
                </a:extLst>
              </a:tr>
              <a:tr h="1854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Belaru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C Belarus LL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3574911"/>
                  </a:ext>
                </a:extLst>
              </a:tr>
              <a:tr h="15911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Finlan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land LE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0633212"/>
                  </a:ext>
                </a:extLst>
              </a:tr>
              <a:tr h="251464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German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land LE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4324857"/>
                  </a:ext>
                </a:extLst>
              </a:tr>
              <a:tr h="2049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Germany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41549678"/>
                  </a:ext>
                </a:extLst>
              </a:tr>
              <a:tr h="2402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Ukrain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C Ukraine LLC</a:t>
                      </a:r>
                      <a:endParaRPr lang="en-US" sz="2000" b="1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018710"/>
                  </a:ext>
                </a:extLst>
              </a:tr>
              <a:tr h="179403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Singapor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raine 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75619076"/>
                  </a:ext>
                </a:extLst>
              </a:tr>
              <a:tr h="2402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Romani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mania LE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866849"/>
                  </a:ext>
                </a:extLst>
              </a:tr>
              <a:tr h="240280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Jap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mania LE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1730958"/>
                  </a:ext>
                </a:extLst>
              </a:tr>
              <a:tr h="2402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Australi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ABC Australia Pty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1731224"/>
                  </a:ext>
                </a:extLst>
              </a:tr>
              <a:tr h="2402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itzer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C Switzerland 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F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74489559"/>
                  </a:ext>
                </a:extLst>
              </a:tr>
              <a:tr h="2291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C Poland sp. z o.o.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29557591"/>
                  </a:ext>
                </a:extLst>
              </a:tr>
            </a:tbl>
          </a:graphicData>
        </a:graphic>
      </p:graphicFrame>
      <p:sp>
        <p:nvSpPr>
          <p:cNvPr id="53" name="Text Placeholder 49">
            <a:extLst>
              <a:ext uri="{FF2B5EF4-FFF2-40B4-BE49-F238E27FC236}">
                <a16:creationId xmlns:a16="http://schemas.microsoft.com/office/drawing/2014/main" id="{0B03C973-F438-4F5E-8117-9AD1611FD0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456" y="707950"/>
            <a:ext cx="10362880" cy="330494"/>
          </a:xfrm>
        </p:spPr>
        <p:txBody>
          <a:bodyPr/>
          <a:lstStyle/>
          <a:p>
            <a:r>
              <a:rPr lang="en-US" sz="1400" dirty="0"/>
              <a:t>To better understand ABC Enterprise Structure, Legal Entities hierarchy, the following information is needed: </a:t>
            </a:r>
          </a:p>
        </p:txBody>
      </p:sp>
    </p:spTree>
    <p:extLst>
      <p:ext uri="{BB962C8B-B14F-4D97-AF65-F5344CB8AC3E}">
        <p14:creationId xmlns:p14="http://schemas.microsoft.com/office/powerpoint/2010/main" val="1676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C7F9345-1174-0042-BEDF-B56A7EED2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77" y="2125347"/>
            <a:ext cx="10418233" cy="680995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168740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Content Placeholder 5">
            <a:extLst>
              <a:ext uri="{FF2B5EF4-FFF2-40B4-BE49-F238E27FC236}">
                <a16:creationId xmlns:a16="http://schemas.microsoft.com/office/drawing/2014/main" id="{4C9539E2-19C1-4059-9EE9-48A471AC4E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9771615"/>
              </p:ext>
            </p:extLst>
          </p:nvPr>
        </p:nvGraphicFramePr>
        <p:xfrm>
          <a:off x="603839" y="777827"/>
          <a:ext cx="11325480" cy="60936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65096">
                  <a:extLst>
                    <a:ext uri="{9D8B030D-6E8A-4147-A177-3AD203B41FA5}">
                      <a16:colId xmlns:a16="http://schemas.microsoft.com/office/drawing/2014/main" val="2407140380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89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nday</a:t>
                      </a: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Monday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Tue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Wedne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Thur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Current architecture and integrations (2 hrs.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kern="1200" baseline="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1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Procure to Pay Solution Walkthrough (1.5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Financial Close, Consolidation and Planning Solution Walkthrough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527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Legal Entity &amp; Operating Model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Supplier Payment Processing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Record to Report – Corporate Accounting 1 – COA and GL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Record to Report – Asset Accounting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2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Record to Report – Corporate Accounting 2  - IC, Close and Reconcile (includes ARCS) (2.5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5587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Record to Report – Local Reporting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 Reporting &amp; Analytics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 Treasury Management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18986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Data Conversion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Cyber Lab (1.5 hrs.)</a:t>
                      </a: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Change Lab (2 hrs.)</a:t>
                      </a: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608327"/>
                  </a:ext>
                </a:extLst>
              </a:tr>
            </a:tbl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D4A21E60-DEDC-46CE-B695-2123DA3C215E}"/>
              </a:ext>
            </a:extLst>
          </p:cNvPr>
          <p:cNvSpPr txBox="1"/>
          <p:nvPr/>
        </p:nvSpPr>
        <p:spPr>
          <a:xfrm>
            <a:off x="274766" y="1081295"/>
            <a:ext cx="276999" cy="73866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Ja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49F9290-C83A-4DAD-877C-2F045957F968}"/>
              </a:ext>
            </a:extLst>
          </p:cNvPr>
          <p:cNvSpPr txBox="1"/>
          <p:nvPr/>
        </p:nvSpPr>
        <p:spPr>
          <a:xfrm>
            <a:off x="262681" y="5865414"/>
            <a:ext cx="276999" cy="73866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Mar</a:t>
            </a:r>
            <a:endParaRPr lang="en-US">
              <a:solidFill>
                <a:srgbClr val="31313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A28B19A-1F29-4A75-BFE1-7D2FAF1056ED}"/>
              </a:ext>
            </a:extLst>
          </p:cNvPr>
          <p:cNvSpPr txBox="1"/>
          <p:nvPr/>
        </p:nvSpPr>
        <p:spPr>
          <a:xfrm>
            <a:off x="262681" y="1986937"/>
            <a:ext cx="276999" cy="3789767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Feb</a:t>
            </a:r>
            <a:endParaRPr lang="en-US">
              <a:solidFill>
                <a:srgbClr val="313131"/>
              </a:solidFill>
            </a:endParaRPr>
          </a:p>
        </p:txBody>
      </p:sp>
      <p:sp>
        <p:nvSpPr>
          <p:cNvPr id="79" name="Title 7">
            <a:extLst>
              <a:ext uri="{FF2B5EF4-FFF2-40B4-BE49-F238E27FC236}">
                <a16:creationId xmlns:a16="http://schemas.microsoft.com/office/drawing/2014/main" id="{9BBAF798-0041-4DD5-8FE8-7F9845126F95}"/>
              </a:ext>
            </a:extLst>
          </p:cNvPr>
          <p:cNvSpPr txBox="1">
            <a:spLocks/>
          </p:cNvSpPr>
          <p:nvPr/>
        </p:nvSpPr>
        <p:spPr bwMode="gray">
          <a:xfrm>
            <a:off x="603840" y="98491"/>
            <a:ext cx="11294241" cy="594360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spc="-7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3000" b="1" err="1">
                <a:latin typeface="+mj-lt"/>
                <a:ea typeface="Open Sans Light"/>
                <a:cs typeface="Open Sans Light"/>
              </a:rPr>
              <a:t>TruNorth</a:t>
            </a:r>
            <a:r>
              <a:rPr lang="en-US" sz="3000" b="1">
                <a:latin typeface="+mj-lt"/>
                <a:ea typeface="Open Sans Light"/>
                <a:cs typeface="Open Sans Light"/>
              </a:rPr>
              <a:t> Confirmation Workshops Schedule DRAFT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id="{D251BD6D-77A6-40F2-8B89-7F7C9D61E7AC}"/>
              </a:ext>
            </a:extLst>
          </p:cNvPr>
          <p:cNvSpPr txBox="1">
            <a:spLocks/>
          </p:cNvSpPr>
          <p:nvPr/>
        </p:nvSpPr>
        <p:spPr>
          <a:xfrm>
            <a:off x="603840" y="143667"/>
            <a:ext cx="3355848" cy="2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1"/>
                </a:solidFill>
                <a:latin typeface="+mn-lt"/>
                <a:ea typeface="Nexa Black" charset="0"/>
                <a:cs typeface="Nexa Black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dernize + TRANSFORM + INNOVAT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0DC8E3-4BF6-4C5E-8DA4-9884118BD200}"/>
              </a:ext>
            </a:extLst>
          </p:cNvPr>
          <p:cNvSpPr/>
          <p:nvPr/>
        </p:nvSpPr>
        <p:spPr bwMode="gray">
          <a:xfrm>
            <a:off x="3775268" y="6534770"/>
            <a:ext cx="7110714" cy="25219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>
                <a:solidFill>
                  <a:sysClr val="windowText" lastClr="000000"/>
                </a:solidFill>
              </a:rPr>
              <a:t>Present Readout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F74046B8-B335-4D63-8E29-1FBF91103ABC}"/>
              </a:ext>
            </a:extLst>
          </p:cNvPr>
          <p:cNvGrpSpPr/>
          <p:nvPr/>
        </p:nvGrpSpPr>
        <p:grpSpPr>
          <a:xfrm>
            <a:off x="2493886" y="1066365"/>
            <a:ext cx="9432414" cy="5324503"/>
            <a:chOff x="2230802" y="1049352"/>
            <a:chExt cx="8400575" cy="532450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2EF75BE-0B8E-440B-AA01-6C5D2E527816}"/>
                </a:ext>
              </a:extLst>
            </p:cNvPr>
            <p:cNvSpPr/>
            <p:nvPr/>
          </p:nvSpPr>
          <p:spPr>
            <a:xfrm>
              <a:off x="4252402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30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181F72C-7EC6-4F0E-8097-B85568D1D9AB}"/>
                </a:ext>
              </a:extLst>
            </p:cNvPr>
            <p:cNvSpPr/>
            <p:nvPr/>
          </p:nvSpPr>
          <p:spPr>
            <a:xfrm>
              <a:off x="6274002" y="105445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31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0C6A0EE-F8E6-4B4A-AB53-E3695AF6C7A6}"/>
                </a:ext>
              </a:extLst>
            </p:cNvPr>
            <p:cNvSpPr/>
            <p:nvPr/>
          </p:nvSpPr>
          <p:spPr>
            <a:xfrm>
              <a:off x="8287165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C61CE94-F2F6-401C-A2AE-EA5251C141EE}"/>
                </a:ext>
              </a:extLst>
            </p:cNvPr>
            <p:cNvSpPr/>
            <p:nvPr/>
          </p:nvSpPr>
          <p:spPr>
            <a:xfrm>
              <a:off x="10300328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57DCFEB-F708-49DE-8C9B-5FE8DEE4F435}"/>
                </a:ext>
              </a:extLst>
            </p:cNvPr>
            <p:cNvSpPr/>
            <p:nvPr/>
          </p:nvSpPr>
          <p:spPr>
            <a:xfrm>
              <a:off x="4249333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6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79BCF9-C17A-4C88-9978-70D02A460A6D}"/>
                </a:ext>
              </a:extLst>
            </p:cNvPr>
            <p:cNvSpPr/>
            <p:nvPr/>
          </p:nvSpPr>
          <p:spPr>
            <a:xfrm>
              <a:off x="6264854" y="186747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7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E5F375A-4BF5-4713-8DFC-A4B658651EA1}"/>
                </a:ext>
              </a:extLst>
            </p:cNvPr>
            <p:cNvSpPr/>
            <p:nvPr/>
          </p:nvSpPr>
          <p:spPr>
            <a:xfrm>
              <a:off x="8287165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27269B0-346C-4AAC-8884-E11956553773}"/>
                </a:ext>
              </a:extLst>
            </p:cNvPr>
            <p:cNvSpPr/>
            <p:nvPr/>
          </p:nvSpPr>
          <p:spPr>
            <a:xfrm>
              <a:off x="10300328" y="188454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9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8B19EF1-A894-41F6-BB6C-CA8334E8EF06}"/>
                </a:ext>
              </a:extLst>
            </p:cNvPr>
            <p:cNvSpPr/>
            <p:nvPr/>
          </p:nvSpPr>
          <p:spPr>
            <a:xfrm>
              <a:off x="4252402" y="288816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3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7F73960-AE41-4B18-9D7A-E641E7D80949}"/>
                </a:ext>
              </a:extLst>
            </p:cNvPr>
            <p:cNvSpPr/>
            <p:nvPr/>
          </p:nvSpPr>
          <p:spPr>
            <a:xfrm>
              <a:off x="6264854" y="288230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4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0672645-BAF8-4C39-83B1-851AD1A29105}"/>
                </a:ext>
              </a:extLst>
            </p:cNvPr>
            <p:cNvSpPr/>
            <p:nvPr/>
          </p:nvSpPr>
          <p:spPr>
            <a:xfrm>
              <a:off x="8286454" y="288802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5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67A79BF-FC98-45C3-BD35-D7CA1CC36BDC}"/>
                </a:ext>
              </a:extLst>
            </p:cNvPr>
            <p:cNvSpPr/>
            <p:nvPr/>
          </p:nvSpPr>
          <p:spPr>
            <a:xfrm>
              <a:off x="10300328" y="2882306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16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2FCF49F-FB14-45EC-9680-913144EE30E1}"/>
                </a:ext>
              </a:extLst>
            </p:cNvPr>
            <p:cNvSpPr/>
            <p:nvPr/>
          </p:nvSpPr>
          <p:spPr>
            <a:xfrm>
              <a:off x="4246089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0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CC0E0D3-4E65-4FC1-AB92-1D8727484CD2}"/>
                </a:ext>
              </a:extLst>
            </p:cNvPr>
            <p:cNvSpPr/>
            <p:nvPr/>
          </p:nvSpPr>
          <p:spPr>
            <a:xfrm>
              <a:off x="6266607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1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4B42AA8-AD80-4D4C-97ED-339435B1365E}"/>
                </a:ext>
              </a:extLst>
            </p:cNvPr>
            <p:cNvSpPr/>
            <p:nvPr/>
          </p:nvSpPr>
          <p:spPr>
            <a:xfrm>
              <a:off x="8286454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2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27C94B5-2D4C-47D4-A60D-BB2C4D085767}"/>
                </a:ext>
              </a:extLst>
            </p:cNvPr>
            <p:cNvSpPr/>
            <p:nvPr/>
          </p:nvSpPr>
          <p:spPr>
            <a:xfrm>
              <a:off x="10300328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3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75F2A97-0CE9-476D-9E17-534006F43A9E}"/>
                </a:ext>
              </a:extLst>
            </p:cNvPr>
            <p:cNvSpPr/>
            <p:nvPr/>
          </p:nvSpPr>
          <p:spPr>
            <a:xfrm>
              <a:off x="4252402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7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FC4359B-126D-4091-878A-D3F6D75F6509}"/>
                </a:ext>
              </a:extLst>
            </p:cNvPr>
            <p:cNvSpPr/>
            <p:nvPr/>
          </p:nvSpPr>
          <p:spPr>
            <a:xfrm>
              <a:off x="6273568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8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F5C6478-61A8-4623-B206-7E1CBAD434CE}"/>
                </a:ext>
              </a:extLst>
            </p:cNvPr>
            <p:cNvSpPr/>
            <p:nvPr/>
          </p:nvSpPr>
          <p:spPr>
            <a:xfrm>
              <a:off x="8286454" y="521757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2E13EB7-E3E2-4104-AB86-59F233034D04}"/>
                </a:ext>
              </a:extLst>
            </p:cNvPr>
            <p:cNvSpPr/>
            <p:nvPr/>
          </p:nvSpPr>
          <p:spPr>
            <a:xfrm>
              <a:off x="10300328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1F534FE-64A7-4FD7-80FC-C657192D8572}"/>
                </a:ext>
              </a:extLst>
            </p:cNvPr>
            <p:cNvSpPr/>
            <p:nvPr/>
          </p:nvSpPr>
          <p:spPr>
            <a:xfrm>
              <a:off x="4255645" y="603460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6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0ABAADD-EE58-478E-8906-F31054BC37A4}"/>
                </a:ext>
              </a:extLst>
            </p:cNvPr>
            <p:cNvSpPr/>
            <p:nvPr/>
          </p:nvSpPr>
          <p:spPr>
            <a:xfrm>
              <a:off x="6273568" y="6031588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7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24B97BB-0CF6-481F-A5AB-2A77316E5F7B}"/>
                </a:ext>
              </a:extLst>
            </p:cNvPr>
            <p:cNvSpPr/>
            <p:nvPr/>
          </p:nvSpPr>
          <p:spPr>
            <a:xfrm>
              <a:off x="8291490" y="602750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8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ECECAC1-A216-4870-8FA0-3FE3C3AB3152}"/>
                </a:ext>
              </a:extLst>
            </p:cNvPr>
            <p:cNvSpPr/>
            <p:nvPr/>
          </p:nvSpPr>
          <p:spPr>
            <a:xfrm>
              <a:off x="10300328" y="603230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9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2A35454-A1F8-4D1F-B08C-4533A3E098B3}"/>
                </a:ext>
              </a:extLst>
            </p:cNvPr>
            <p:cNvSpPr/>
            <p:nvPr/>
          </p:nvSpPr>
          <p:spPr>
            <a:xfrm>
              <a:off x="2230802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9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D5B712E-86F6-48A8-A3C1-8E6E2F28EC4F}"/>
                </a:ext>
              </a:extLst>
            </p:cNvPr>
            <p:cNvSpPr/>
            <p:nvPr/>
          </p:nvSpPr>
          <p:spPr>
            <a:xfrm>
              <a:off x="2230802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5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DD216DA-53C5-4885-B6B4-113A1259AFA5}"/>
                </a:ext>
              </a:extLst>
            </p:cNvPr>
            <p:cNvSpPr/>
            <p:nvPr/>
          </p:nvSpPr>
          <p:spPr>
            <a:xfrm>
              <a:off x="2230802" y="288816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2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2CA0C6C-29DD-45F3-91BD-B82AAC043EFF}"/>
                </a:ext>
              </a:extLst>
            </p:cNvPr>
            <p:cNvSpPr/>
            <p:nvPr/>
          </p:nvSpPr>
          <p:spPr>
            <a:xfrm>
              <a:off x="2234144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9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0DF7218A-50A9-424A-AECF-8901AD4C69B7}"/>
                </a:ext>
              </a:extLst>
            </p:cNvPr>
            <p:cNvSpPr/>
            <p:nvPr/>
          </p:nvSpPr>
          <p:spPr>
            <a:xfrm>
              <a:off x="2230802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6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E0D1B9D-8ECF-45EC-A662-15C11BC59232}"/>
                </a:ext>
              </a:extLst>
            </p:cNvPr>
            <p:cNvSpPr/>
            <p:nvPr/>
          </p:nvSpPr>
          <p:spPr>
            <a:xfrm>
              <a:off x="2230802" y="603808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224012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Brand_16_9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Kinetic Enterprise_PPT template_081621_FINAL.pptx" id="{81E0818D-39FF-424A-8B65-77DC896E2B73}" vid="{F31995C8-9C68-4693-B40C-1AB18EBEF8DF}"/>
    </a:ext>
  </a:extLst>
</a:theme>
</file>

<file path=ppt/theme/theme2.xml><?xml version="1.0" encoding="utf-8"?>
<a:theme xmlns:a="http://schemas.openxmlformats.org/drawingml/2006/main" name="1_Deloitte_Brand_16_9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Kinetic Enterprise_PPT template_081621_FINAL.pptx" id="{81E0818D-39FF-424A-8B65-77DC896E2B73}" vid="{F31995C8-9C68-4693-B40C-1AB18EBEF8D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A6DCCE3A4D6246BDCC3A99887E7EBF" ma:contentTypeVersion="17" ma:contentTypeDescription="Create a new document." ma:contentTypeScope="" ma:versionID="affd4296e8f1351782c9a0c46419815a">
  <xsd:schema xmlns:xsd="http://www.w3.org/2001/XMLSchema" xmlns:xs="http://www.w3.org/2001/XMLSchema" xmlns:p="http://schemas.microsoft.com/office/2006/metadata/properties" xmlns:ns2="ecdbe5b9-5499-446f-91f2-35ffe1354dc7" xmlns:ns3="f605c320-b55e-4af4-addb-d1a9d1bdf49a" targetNamespace="http://schemas.microsoft.com/office/2006/metadata/properties" ma:root="true" ma:fieldsID="b2e98148e58719572f5b792c854782dd" ns2:_="" ns3:_="">
    <xsd:import namespace="ecdbe5b9-5499-446f-91f2-35ffe1354dc7"/>
    <xsd:import namespace="f605c320-b55e-4af4-addb-d1a9d1bdf4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dbe5b9-5499-446f-91f2-35ffe1354d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05c320-b55e-4af4-addb-d1a9d1bdf4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a543a0b-041d-4ba4-9f31-868688cb4e3e}" ma:internalName="TaxCatchAll" ma:showField="CatchAllData" ma:web="f605c320-b55e-4af4-addb-d1a9d1bdf4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cdbe5b9-5499-446f-91f2-35ffe1354dc7">
      <Terms xmlns="http://schemas.microsoft.com/office/infopath/2007/PartnerControls"/>
    </lcf76f155ced4ddcb4097134ff3c332f>
    <TaxCatchAll xmlns="f605c320-b55e-4af4-addb-d1a9d1bdf49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C2F11D-7831-4452-B190-0C7ACE37F0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dbe5b9-5499-446f-91f2-35ffe1354dc7"/>
    <ds:schemaRef ds:uri="f605c320-b55e-4af4-addb-d1a9d1bdf4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05E49B-70B5-4FEC-89D5-F69F52BE5B81}">
  <ds:schemaRefs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f605c320-b55e-4af4-addb-d1a9d1bdf49a"/>
    <ds:schemaRef ds:uri="ecdbe5b9-5499-446f-91f2-35ffe1354dc7"/>
  </ds:schemaRefs>
</ds:datastoreItem>
</file>

<file path=customXml/itemProps3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</TotalTime>
  <Words>515</Words>
  <Application>Microsoft Office PowerPoint</Application>
  <PresentationFormat>Widescreen</PresentationFormat>
  <Paragraphs>175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rial</vt:lpstr>
      <vt:lpstr>Arial,Sans-Serif</vt:lpstr>
      <vt:lpstr>Calibri</vt:lpstr>
      <vt:lpstr>Calibri Light</vt:lpstr>
      <vt:lpstr>Chronicle Display</vt:lpstr>
      <vt:lpstr>Open Sans</vt:lpstr>
      <vt:lpstr>Open Sans Light</vt:lpstr>
      <vt:lpstr>Verdana</vt:lpstr>
      <vt:lpstr>Wingdings</vt:lpstr>
      <vt:lpstr>Wingdings 2</vt:lpstr>
      <vt:lpstr>Deloitte_Brand_16_9</vt:lpstr>
      <vt:lpstr>1_Deloitte_Brand_16_9</vt:lpstr>
      <vt:lpstr>think-cell Slide</vt:lpstr>
      <vt:lpstr>ABC: Legal Entity &amp; Operating Model</vt:lpstr>
      <vt:lpstr>Introductions</vt:lpstr>
      <vt:lpstr>PowerPoint Presentation</vt:lpstr>
      <vt:lpstr>Enterprise Structure</vt:lpstr>
      <vt:lpstr>Appendix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netic Enterprise</dc:title>
  <dc:creator>Saini, Deepak</dc:creator>
  <cp:lastModifiedBy>Mathur, Saurabh</cp:lastModifiedBy>
  <cp:revision>7</cp:revision>
  <cp:lastPrinted>2014-06-25T02:16:22Z</cp:lastPrinted>
  <dcterms:created xsi:type="dcterms:W3CDTF">2023-01-31T06:57:31Z</dcterms:created>
  <dcterms:modified xsi:type="dcterms:W3CDTF">2024-04-09T15:3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C66C6C5563054CB3180C4AE6D905F6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3-15T08:01:35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c48226f8-9411-4d06-b069-56e094e1e42e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